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7" r:id="rId3"/>
    <p:sldMasterId id="2147483690" r:id="rId4"/>
  </p:sldMasterIdLst>
  <p:notesMasterIdLst>
    <p:notesMasterId r:id="rId16"/>
  </p:notesMasterIdLst>
  <p:handoutMasterIdLst>
    <p:handoutMasterId r:id="rId17"/>
  </p:handoutMasterIdLst>
  <p:sldIdLst>
    <p:sldId id="318" r:id="rId5"/>
    <p:sldId id="374" r:id="rId6"/>
    <p:sldId id="376" r:id="rId7"/>
    <p:sldId id="348" r:id="rId8"/>
    <p:sldId id="370" r:id="rId9"/>
    <p:sldId id="378" r:id="rId10"/>
    <p:sldId id="380" r:id="rId11"/>
    <p:sldId id="381" r:id="rId12"/>
    <p:sldId id="379" r:id="rId13"/>
    <p:sldId id="383" r:id="rId14"/>
    <p:sldId id="366" r:id="rId15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D30A"/>
    <a:srgbClr val="47B256"/>
    <a:srgbClr val="2B6030"/>
    <a:srgbClr val="DD1125"/>
    <a:srgbClr val="F76300"/>
    <a:srgbClr val="0578BA"/>
    <a:srgbClr val="389045"/>
    <a:srgbClr val="397F40"/>
    <a:srgbClr val="40A24E"/>
    <a:srgbClr val="1F7E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24" autoAdjust="0"/>
    <p:restoredTop sz="98971" autoAdjust="0"/>
  </p:normalViewPr>
  <p:slideViewPr>
    <p:cSldViewPr>
      <p:cViewPr varScale="1">
        <p:scale>
          <a:sx n="116" d="100"/>
          <a:sy n="116" d="100"/>
        </p:scale>
        <p:origin x="-1248" y="-102"/>
      </p:cViewPr>
      <p:guideLst>
        <p:guide orient="horz" pos="3929"/>
        <p:guide orient="horz" pos="2024"/>
        <p:guide orient="horz" pos="2478"/>
        <p:guide orient="horz" pos="2931"/>
        <p:guide orient="horz" pos="2251"/>
        <p:guide orient="horz" pos="4156"/>
        <p:guide orient="horz" pos="1207"/>
        <p:guide pos="2880"/>
        <p:guide pos="1791"/>
        <p:guide pos="3651"/>
        <p:guide pos="4059"/>
        <p:guide pos="295"/>
        <p:guide pos="204"/>
        <p:guide pos="269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t>23.09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t>23.09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341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953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683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7B7B0-3C57-4373-BD48-EA3B39072C25}" type="slidenum">
              <a:rPr lang="ru-RU" smtClean="0"/>
              <a:t>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76286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7B7B0-3C57-4373-BD48-EA3B39072C25}" type="slidenum">
              <a:rPr lang="ru-RU" smtClean="0"/>
              <a:t>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7628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107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107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5.xml"/><Relationship Id="rId7" Type="http://schemas.openxmlformats.org/officeDocument/2006/relationships/image" Target="../media/image10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7.xml"/><Relationship Id="rId7" Type="http://schemas.openxmlformats.org/officeDocument/2006/relationships/image" Target="../media/image11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9.xml"/><Relationship Id="rId7" Type="http://schemas.openxmlformats.org/officeDocument/2006/relationships/image" Target="../media/image13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1.xml"/><Relationship Id="rId7" Type="http://schemas.openxmlformats.org/officeDocument/2006/relationships/image" Target="../media/image15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5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6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5.xml"/><Relationship Id="rId7" Type="http://schemas.openxmlformats.org/officeDocument/2006/relationships/image" Target="../media/image4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7.xml"/><Relationship Id="rId7" Type="http://schemas.openxmlformats.org/officeDocument/2006/relationships/image" Target="../media/image4.jpeg"/><Relationship Id="rId2" Type="http://schemas.openxmlformats.org/officeDocument/2006/relationships/tags" Target="../tags/tag6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9.xml"/><Relationship Id="rId7" Type="http://schemas.openxmlformats.org/officeDocument/2006/relationships/image" Target="../media/image4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1.xml"/><Relationship Id="rId7" Type="http://schemas.openxmlformats.org/officeDocument/2006/relationships/image" Target="../media/image4.jpeg"/><Relationship Id="rId2" Type="http://schemas.openxmlformats.org/officeDocument/2006/relationships/tags" Target="../tags/tag7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3.xml"/><Relationship Id="rId7" Type="http://schemas.openxmlformats.org/officeDocument/2006/relationships/image" Target="../media/image4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5.xml"/><Relationship Id="rId7" Type="http://schemas.openxmlformats.org/officeDocument/2006/relationships/image" Target="../media/image4.jpeg"/><Relationship Id="rId2" Type="http://schemas.openxmlformats.org/officeDocument/2006/relationships/tags" Target="../tags/tag7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7.xml"/><Relationship Id="rId7" Type="http://schemas.openxmlformats.org/officeDocument/2006/relationships/image" Target="../media/image4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9.xml"/><Relationship Id="rId7" Type="http://schemas.openxmlformats.org/officeDocument/2006/relationships/image" Target="../media/image4.jpe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1.xml"/><Relationship Id="rId7" Type="http://schemas.openxmlformats.org/officeDocument/2006/relationships/image" Target="../media/image4.jpeg"/><Relationship Id="rId2" Type="http://schemas.openxmlformats.org/officeDocument/2006/relationships/tags" Target="../tags/tag8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3.xml"/><Relationship Id="rId7" Type="http://schemas.openxmlformats.org/officeDocument/2006/relationships/image" Target="../media/image4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5.xml"/><Relationship Id="rId7" Type="http://schemas.openxmlformats.org/officeDocument/2006/relationships/image" Target="../media/image4.jpeg"/><Relationship Id="rId2" Type="http://schemas.openxmlformats.org/officeDocument/2006/relationships/tags" Target="../tags/tag8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7.xml"/><Relationship Id="rId7" Type="http://schemas.openxmlformats.org/officeDocument/2006/relationships/image" Target="../media/image4.jpeg"/><Relationship Id="rId2" Type="http://schemas.openxmlformats.org/officeDocument/2006/relationships/tags" Target="../tags/tag8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9.xml"/><Relationship Id="rId7" Type="http://schemas.openxmlformats.org/officeDocument/2006/relationships/image" Target="../media/image4.jpeg"/><Relationship Id="rId2" Type="http://schemas.openxmlformats.org/officeDocument/2006/relationships/tags" Target="../tags/tag8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1.xml"/><Relationship Id="rId7" Type="http://schemas.openxmlformats.org/officeDocument/2006/relationships/image" Target="../media/image4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3.xml"/><Relationship Id="rId7" Type="http://schemas.openxmlformats.org/officeDocument/2006/relationships/image" Target="../media/image4.jpeg"/><Relationship Id="rId2" Type="http://schemas.openxmlformats.org/officeDocument/2006/relationships/tags" Target="../tags/tag9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5.xml"/><Relationship Id="rId7" Type="http://schemas.openxmlformats.org/officeDocument/2006/relationships/image" Target="../media/image4.jpeg"/><Relationship Id="rId2" Type="http://schemas.openxmlformats.org/officeDocument/2006/relationships/tags" Target="../tags/tag9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7.xml"/><Relationship Id="rId7" Type="http://schemas.openxmlformats.org/officeDocument/2006/relationships/image" Target="../media/image4.jpeg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9.xml"/><Relationship Id="rId7" Type="http://schemas.openxmlformats.org/officeDocument/2006/relationships/image" Target="../media/image4.jpeg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1.xml"/><Relationship Id="rId7" Type="http://schemas.openxmlformats.org/officeDocument/2006/relationships/image" Target="../media/image4.jpeg"/><Relationship Id="rId2" Type="http://schemas.openxmlformats.org/officeDocument/2006/relationships/tags" Target="../tags/tag10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3.xml"/><Relationship Id="rId7" Type="http://schemas.openxmlformats.org/officeDocument/2006/relationships/image" Target="../media/image4.jpeg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5.xml"/><Relationship Id="rId7" Type="http://schemas.openxmlformats.org/officeDocument/2006/relationships/image" Target="../media/image4.jpeg"/><Relationship Id="rId2" Type="http://schemas.openxmlformats.org/officeDocument/2006/relationships/tags" Target="../tags/tag10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7.xml"/><Relationship Id="rId7" Type="http://schemas.openxmlformats.org/officeDocument/2006/relationships/image" Target="../media/image4.jpeg"/><Relationship Id="rId2" Type="http://schemas.openxmlformats.org/officeDocument/2006/relationships/tags" Target="../tags/tag10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4672" y="-1495"/>
            <a:ext cx="9326880" cy="6998208"/>
          </a:xfrm>
          <a:prstGeom prst="rect">
            <a:avLst/>
          </a:prstGeom>
          <a:solidFill>
            <a:srgbClr val="9ACD3F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6" y="1540933"/>
            <a:ext cx="5374933" cy="1286934"/>
          </a:xfrm>
        </p:spPr>
        <p:txBody>
          <a:bodyPr anchor="ctr">
            <a:normAutofit/>
          </a:bodyPr>
          <a:lstStyle>
            <a:lvl1pPr>
              <a:defRPr sz="2400" baseline="0"/>
            </a:lvl1pPr>
          </a:lstStyle>
          <a:p>
            <a:r>
              <a:rPr lang="ru-RU" dirty="0" smtClean="0"/>
              <a:t>Закрывающий слайд презентации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4068" y="3462867"/>
            <a:ext cx="2818050" cy="2277534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dirty="0" smtClean="0"/>
              <a:t>Текст закрывающего слайда, реквизиты, контактная информация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682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6383D4-FDD7-47F2-8C15-0454D9C4969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18184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EDA193C-62D7-4673-BB39-AA9F76D9FAD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960864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CC1C5E-02E6-48B3-AA96-599B8ABEAB4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61577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C6FCCDF-E9CE-488E-A290-F4D2A35AD2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315697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7CEC73-8D07-478C-A09C-772C49D011D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76239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43638A-A3E8-4F2E-AA97-1AD0815076F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360025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F8536E-5477-42F2-8F4E-2CDCABD03E2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942780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6DCF5F-78A9-4E7F-B9DF-3A8C3A03511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15128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FBBD8D-EEED-48B1-A8DE-163631A3FBC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13023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0A231D-77D2-41E3-B705-88998F718B8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06480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51BB16E-982B-4D4A-9192-4475C23C2BD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802119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90500"/>
            <a:ext cx="228600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9"/>
          <p:cNvSpPr/>
          <p:nvPr/>
        </p:nvSpPr>
        <p:spPr>
          <a:xfrm>
            <a:off x="0" y="190500"/>
            <a:ext cx="90488" cy="45402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334" y="381712"/>
            <a:ext cx="2977453" cy="452816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4335" y="1115786"/>
            <a:ext cx="5926109" cy="3193143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829175" y="4662488"/>
            <a:ext cx="1524000" cy="260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518C7B-188C-4221-B797-48DA5131F39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6580496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4138" y="-1588"/>
            <a:ext cx="9326563" cy="6997701"/>
          </a:xfrm>
          <a:prstGeom prst="rect">
            <a:avLst/>
          </a:prstGeom>
          <a:solidFill>
            <a:srgbClr val="9ACD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068" y="1540934"/>
            <a:ext cx="5374933" cy="1286935"/>
          </a:xfrm>
        </p:spPr>
        <p:txBody>
          <a:bodyPr>
            <a:normAutofit/>
          </a:bodyPr>
          <a:lstStyle>
            <a:lvl1pPr>
              <a:defRPr sz="2400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4068" y="3462867"/>
            <a:ext cx="2818050" cy="2277535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669051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MArkin-AA\Рабочий стол\cov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3"/>
          <p:cNvSpPr/>
          <p:nvPr userDrawn="1"/>
        </p:nvSpPr>
        <p:spPr>
          <a:xfrm>
            <a:off x="0" y="2152650"/>
            <a:ext cx="125413" cy="3619500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6" name="Rectangle 14"/>
          <p:cNvSpPr/>
          <p:nvPr userDrawn="1"/>
        </p:nvSpPr>
        <p:spPr>
          <a:xfrm>
            <a:off x="0" y="534988"/>
            <a:ext cx="125413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40272" y="53439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94996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="" xmlns:a16="http://schemas.microsoft.com/office/drawing/2014/main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="" xmlns:a16="http://schemas.microsoft.com/office/drawing/2014/main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9659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="" xmlns:a16="http://schemas.microsoft.com/office/drawing/2014/main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="" xmlns:a16="http://schemas.microsoft.com/office/drawing/2014/main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="" xmlns:a16="http://schemas.microsoft.com/office/drawing/2014/main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016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5080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="" xmlns:a16="http://schemas.microsoft.com/office/drawing/2014/main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="" xmlns:a16="http://schemas.microsoft.com/office/drawing/2014/main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="" xmlns:a16="http://schemas.microsoft.com/office/drawing/2014/main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313200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=""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="" xmlns:a16="http://schemas.microsoft.com/office/drawing/2014/main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2822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=""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854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04929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="" xmlns:a16="http://schemas.microsoft.com/office/drawing/2014/main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4836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0900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02827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9609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8085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>
          <a:xfrm>
            <a:off x="1" y="0"/>
            <a:ext cx="9144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64" y="534396"/>
            <a:ext cx="3200187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706" y="534499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6" y="4480105"/>
            <a:ext cx="7649629" cy="843148"/>
          </a:xfrm>
        </p:spPr>
        <p:txBody>
          <a:bodyPr anchor="b">
            <a:normAutofit/>
          </a:bodyPr>
          <a:lstStyle>
            <a:lvl1pPr algn="l">
              <a:defRPr sz="2215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6" y="5449760"/>
            <a:ext cx="7649629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477">
                <a:solidFill>
                  <a:schemeClr val="tx1"/>
                </a:solidFill>
                <a:latin typeface="Arial"/>
                <a:cs typeface="Arial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/>
          </a:p>
        </p:txBody>
      </p:sp>
    </p:spTree>
    <p:extLst>
      <p:ext uri="{BB962C8B-B14F-4D97-AF65-F5344CB8AC3E}">
        <p14:creationId xmlns:p14="http://schemas.microsoft.com/office/powerpoint/2010/main" val="14493042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54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главл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6563" y="532580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2581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7" y="657230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215900" y="532581"/>
            <a:ext cx="5663701" cy="633942"/>
          </a:xfrm>
          <a:prstGeom prst="rect">
            <a:avLst/>
          </a:prstGeom>
        </p:spPr>
        <p:txBody>
          <a:bodyPr vert="horz" lIns="84406" tIns="42203" rIns="84406" bIns="42203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1477" dirty="0" smtClean="0"/>
              <a:t>Оглавление</a:t>
            </a:r>
            <a:endParaRPr lang="ru-RU" sz="1477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35275" y="1771651"/>
            <a:ext cx="7226131" cy="737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16531" indent="-316531">
              <a:spcBef>
                <a:spcPts val="0"/>
              </a:spcBef>
              <a:spcAft>
                <a:spcPts val="554"/>
              </a:spcAft>
              <a:buAutoNum type="arabicPeriod"/>
            </a:pPr>
            <a:r>
              <a:rPr lang="ru-RU" sz="1846" dirty="0" smtClean="0"/>
              <a:t>Дорожная карта реализации</a:t>
            </a:r>
            <a:r>
              <a:rPr lang="ru-RU" sz="1846" baseline="0" dirty="0" smtClean="0"/>
              <a:t> Сценария 2 «Оптимальный»</a:t>
            </a:r>
            <a:endParaRPr lang="ru-RU" sz="1846" dirty="0" smtClean="0"/>
          </a:p>
          <a:p>
            <a:pPr marL="316531" indent="-316531">
              <a:spcBef>
                <a:spcPts val="0"/>
              </a:spcBef>
              <a:spcAft>
                <a:spcPts val="554"/>
              </a:spcAft>
              <a:buAutoNum type="arabicPeriod"/>
            </a:pPr>
            <a:r>
              <a:rPr lang="ru-RU" sz="1846" dirty="0" smtClean="0"/>
              <a:t>Состав сценария 2 «Оптимальный»</a:t>
            </a:r>
          </a:p>
        </p:txBody>
      </p:sp>
    </p:spTree>
    <p:extLst>
      <p:ext uri="{BB962C8B-B14F-4D97-AF65-F5344CB8AC3E}">
        <p14:creationId xmlns:p14="http://schemas.microsoft.com/office/powerpoint/2010/main" val="2927980463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ВТБ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b="25066"/>
          <a:stretch/>
        </p:blipFill>
        <p:spPr bwMode="auto">
          <a:xfrm>
            <a:off x="8095883" y="109172"/>
            <a:ext cx="1300703" cy="347528"/>
          </a:xfrm>
          <a:prstGeom prst="rect">
            <a:avLst/>
          </a:prstGeom>
          <a:noFill/>
        </p:spPr>
      </p:pic>
      <p:cxnSp>
        <p:nvCxnSpPr>
          <p:cNvPr id="8" name="Straight Connector 7"/>
          <p:cNvCxnSpPr/>
          <p:nvPr userDrawn="1"/>
        </p:nvCxnSpPr>
        <p:spPr>
          <a:xfrm>
            <a:off x="0" y="562736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2051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950267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299474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34217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37141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960787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218540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468237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389977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42106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866847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397388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715282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738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82251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738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771796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469745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409959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738206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850720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4051389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5333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471130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638686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15900" y="534397"/>
            <a:ext cx="5663701" cy="633942"/>
          </a:xfrm>
        </p:spPr>
        <p:txBody>
          <a:bodyPr wrap="square" anchor="ctr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6761284" y="6527824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5956565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3906459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738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39443701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sz="1846" baseline="0" dirty="0"/>
            </a:lvl1pPr>
          </a:lstStyle>
          <a:p>
            <a:pPr lvl="0"/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6563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7" y="657230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57" y="238713"/>
            <a:ext cx="5123949" cy="149909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Т стратегии 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года </a:t>
            </a:r>
          </a:p>
        </p:txBody>
      </p:sp>
    </p:spTree>
    <p:extLst>
      <p:ext uri="{BB962C8B-B14F-4D97-AF65-F5344CB8AC3E}">
        <p14:creationId xmlns:p14="http://schemas.microsoft.com/office/powerpoint/2010/main" val="165592548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52"/>
            <a:ext cx="4168434" cy="633943"/>
          </a:xfrm>
        </p:spPr>
        <p:txBody>
          <a:bodyPr anchor="ctr">
            <a:normAutofit/>
          </a:bodyPr>
          <a:lstStyle>
            <a:lvl1pPr>
              <a:defRPr sz="1477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76"/>
            <a:ext cx="2133600" cy="365125"/>
          </a:xfrm>
        </p:spPr>
        <p:txBody>
          <a:bodyPr/>
          <a:lstStyle>
            <a:lvl1pPr>
              <a:defRPr sz="831" b="1"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42" y="534395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388" tIns="42195" rIns="84388" bIns="42195" rtlCol="0" anchor="ctr"/>
          <a:lstStyle/>
          <a:p>
            <a:pPr algn="ctr" defTabSz="421953"/>
            <a:endParaRPr lang="en-US" sz="1662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766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2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4052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2" y="534401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857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2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398"/>
            <a:ext cx="4168434" cy="633943"/>
          </a:xfrm>
        </p:spPr>
        <p:txBody>
          <a:bodyPr anchor="ctr">
            <a:normAutofit/>
          </a:bodyPr>
          <a:lstStyle>
            <a:lvl1pPr>
              <a:defRPr sz="1477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9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22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4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2041"/>
            <a:endParaRPr lang="en-US" sz="1662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3917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9" Type="http://schemas.openxmlformats.org/officeDocument/2006/relationships/tags" Target="../tags/tag26.xml"/><Relationship Id="rId21" Type="http://schemas.openxmlformats.org/officeDocument/2006/relationships/tags" Target="../tags/tag8.xml"/><Relationship Id="rId34" Type="http://schemas.openxmlformats.org/officeDocument/2006/relationships/tags" Target="../tags/tag21.xml"/><Relationship Id="rId42" Type="http://schemas.openxmlformats.org/officeDocument/2006/relationships/tags" Target="../tags/tag29.xml"/><Relationship Id="rId47" Type="http://schemas.openxmlformats.org/officeDocument/2006/relationships/tags" Target="../tags/tag34.xml"/><Relationship Id="rId50" Type="http://schemas.openxmlformats.org/officeDocument/2006/relationships/tags" Target="../tags/tag37.xml"/><Relationship Id="rId55" Type="http://schemas.openxmlformats.org/officeDocument/2006/relationships/tags" Target="../tags/tag42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tags" Target="../tags/tag33.xml"/><Relationship Id="rId59" Type="http://schemas.openxmlformats.org/officeDocument/2006/relationships/image" Target="../media/image8.png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41" Type="http://schemas.openxmlformats.org/officeDocument/2006/relationships/tags" Target="../tags/tag28.xml"/><Relationship Id="rId54" Type="http://schemas.openxmlformats.org/officeDocument/2006/relationships/tags" Target="../tags/tag41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45" Type="http://schemas.openxmlformats.org/officeDocument/2006/relationships/tags" Target="../tags/tag32.xml"/><Relationship Id="rId53" Type="http://schemas.openxmlformats.org/officeDocument/2006/relationships/tags" Target="../tags/tag40.xml"/><Relationship Id="rId58" Type="http://schemas.openxmlformats.org/officeDocument/2006/relationships/image" Target="../media/image7.emf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49" Type="http://schemas.openxmlformats.org/officeDocument/2006/relationships/tags" Target="../tags/tag36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4" Type="http://schemas.openxmlformats.org/officeDocument/2006/relationships/tags" Target="../tags/tag31.xml"/><Relationship Id="rId52" Type="http://schemas.openxmlformats.org/officeDocument/2006/relationships/tags" Target="../tags/tag39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tags" Target="../tags/tag30.xml"/><Relationship Id="rId48" Type="http://schemas.openxmlformats.org/officeDocument/2006/relationships/tags" Target="../tags/tag35.xml"/><Relationship Id="rId56" Type="http://schemas.openxmlformats.org/officeDocument/2006/relationships/tags" Target="../tags/tag43.xml"/><Relationship Id="rId8" Type="http://schemas.openxmlformats.org/officeDocument/2006/relationships/slideLayout" Target="../slideLayouts/slideLayout35.xml"/><Relationship Id="rId51" Type="http://schemas.openxmlformats.org/officeDocument/2006/relationships/tags" Target="../tags/tag38.xml"/><Relationship Id="rId3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image" Target="../media/image20.png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tags" Target="../tags/tag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tags" Target="../tags/tag58.xml"/><Relationship Id="rId38" Type="http://schemas.openxmlformats.org/officeDocument/2006/relationships/image" Target="../media/image19.emf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tags" Target="../tags/tag57.xml"/><Relationship Id="rId37" Type="http://schemas.openxmlformats.org/officeDocument/2006/relationships/oleObject" Target="../embeddings/oleObject8.bin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tags" Target="../tags/tag61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tags" Target="../tags/tag56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vmlDrawing" Target="../drawings/vmlDrawing8.vml"/><Relationship Id="rId35" Type="http://schemas.openxmlformats.org/officeDocument/2006/relationships/tags" Target="../tags/tag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D9F25F14-E7E2-4BE6-8B8D-5D779FD8435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9334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="" xmlns:a16="http://schemas.microsoft.com/office/drawing/2014/main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="" xmlns:a16="http://schemas.microsoft.com/office/drawing/2014/main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4067" y="338998"/>
            <a:ext cx="416843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2300" y="1274554"/>
            <a:ext cx="8268320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1808" y="643892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38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48584" y="643892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637917" y="338998"/>
            <a:ext cx="2244317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38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Название презентации (задается в настройках footer)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61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gray">
          <a:xfrm>
            <a:off x="0" y="0"/>
            <a:ext cx="9144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62" dirty="0"/>
          </a:p>
        </p:txBody>
      </p:sp>
      <p:sp>
        <p:nvSpPr>
          <p:cNvPr id="10" name="AcnSubjectTitle_ID_9" hidden="1"/>
          <p:cNvSpPr txBox="1"/>
          <p:nvPr userDrawn="1">
            <p:custDataLst>
              <p:tags r:id="rId32"/>
            </p:custDataLst>
          </p:nvPr>
        </p:nvSpPr>
        <p:spPr bwMode="gray">
          <a:xfrm>
            <a:off x="179389" y="646114"/>
            <a:ext cx="8780462" cy="1988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292" b="1" dirty="0"/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33"/>
            </p:custDataLst>
          </p:nvPr>
        </p:nvSpPr>
        <p:spPr bwMode="gray">
          <a:xfrm>
            <a:off x="0" y="4"/>
            <a:ext cx="7683500" cy="164207"/>
          </a:xfrm>
          <a:prstGeom prst="rect">
            <a:avLst/>
          </a:prstGeom>
          <a:noFill/>
        </p:spPr>
        <p:txBody>
          <a:bodyPr lIns="33231" tIns="0" rIns="33231" bIns="33231">
            <a:spAutoFit/>
          </a:bodyPr>
          <a:lstStyle/>
          <a:p>
            <a:pPr>
              <a:defRPr/>
            </a:pPr>
            <a:r>
              <a:rPr lang="en-US" sz="831" i="1" dirty="0">
                <a:solidFill>
                  <a:srgbClr val="FFFFFF"/>
                </a:solidFill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34"/>
            </p:custDataLst>
          </p:nvPr>
        </p:nvSpPr>
        <p:spPr bwMode="gray">
          <a:xfrm>
            <a:off x="8959850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446" rIns="0" bIns="23446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92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35"/>
            </p:custDataLst>
          </p:nvPr>
        </p:nvCxnSpPr>
        <p:spPr bwMode="gray">
          <a:xfrm rot="5400000" flipH="1" flipV="1">
            <a:off x="8959850" y="754063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36"/>
            </p:custDataLst>
          </p:nvPr>
        </p:nvCxnSpPr>
        <p:spPr bwMode="gray">
          <a:xfrm rot="5400000">
            <a:off x="8959850" y="754063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1994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</p:sldLayoutIdLst>
  <p:hf hdr="0" ftr="0" dt="0"/>
  <p:txStyles>
    <p:titleStyle>
      <a:lvl1pPr algn="l" defTabSz="422041" rtl="0" eaLnBrk="1" latinLnBrk="0" hangingPunct="1">
        <a:spcBef>
          <a:spcPct val="0"/>
        </a:spcBef>
        <a:buNone/>
        <a:defRPr sz="1477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67058" indent="-150939" algn="l" defTabSz="422041" rtl="0" eaLnBrk="1" latinLnBrk="0" hangingPunct="1">
        <a:spcBef>
          <a:spcPct val="20000"/>
        </a:spcBef>
        <a:buSzPct val="100000"/>
        <a:buFontTx/>
        <a:buBlip>
          <a:blip r:embed="rId39"/>
        </a:buBlip>
        <a:defRPr sz="1108" kern="1200">
          <a:solidFill>
            <a:schemeClr val="tx1"/>
          </a:solidFill>
          <a:latin typeface="Arial"/>
          <a:ea typeface="+mn-ea"/>
          <a:cs typeface="Arial"/>
        </a:defRPr>
      </a:lvl1pPr>
      <a:lvl2pPr marL="332651" indent="-165593" algn="l" defTabSz="33118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108" kern="1200">
          <a:solidFill>
            <a:schemeClr val="tx1"/>
          </a:solidFill>
          <a:latin typeface="Arial"/>
          <a:ea typeface="+mn-ea"/>
          <a:cs typeface="Arial"/>
        </a:defRPr>
      </a:lvl2pPr>
      <a:lvl3pPr marL="495312" indent="-145077" algn="l" defTabSz="422041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108" kern="1200">
          <a:solidFill>
            <a:schemeClr val="tx1"/>
          </a:solidFill>
          <a:latin typeface="Arial"/>
          <a:ea typeface="+mn-ea"/>
          <a:cs typeface="Arial"/>
        </a:defRPr>
      </a:lvl3pPr>
      <a:lvl4pPr marL="660905" indent="-161196" algn="l" defTabSz="422041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108" kern="1200">
          <a:solidFill>
            <a:schemeClr val="tx1"/>
          </a:solidFill>
          <a:latin typeface="Arial"/>
          <a:ea typeface="+mn-ea"/>
          <a:cs typeface="Arial"/>
        </a:defRPr>
      </a:lvl4pPr>
      <a:lvl5pPr marL="827963" indent="-162662" algn="l" defTabSz="422041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108" kern="1200">
          <a:solidFill>
            <a:schemeClr val="tx1"/>
          </a:solidFill>
          <a:latin typeface="Arial"/>
          <a:ea typeface="+mn-ea"/>
          <a:cs typeface="Arial"/>
        </a:defRPr>
      </a:lvl5pPr>
      <a:lvl6pPr marL="2321227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" r="2931" b="17243"/>
          <a:stretch/>
        </p:blipFill>
        <p:spPr>
          <a:xfrm>
            <a:off x="-1534886" y="-24383"/>
            <a:ext cx="12475351" cy="705378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484882" y="1049846"/>
            <a:ext cx="6567161" cy="4580318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63688" y="2013853"/>
            <a:ext cx="546423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Синхронизация мер государственной поддержки сельхозтоваропроизводителей и программ Банка. </a:t>
            </a:r>
            <a:r>
              <a:rPr lang="ru-RU" sz="2000" b="1" dirty="0" smtClean="0">
                <a:solidFill>
                  <a:schemeClr val="bg1"/>
                </a:solidFill>
              </a:rPr>
              <a:t>                                      Возможности </a:t>
            </a:r>
            <a:r>
              <a:rPr lang="ru-RU" sz="2000" b="1" dirty="0">
                <a:solidFill>
                  <a:schemeClr val="bg1"/>
                </a:solidFill>
              </a:rPr>
              <a:t>получения сельхозтоваропроизводителями льготного финансирования по программам Правительства Российской </a:t>
            </a:r>
            <a:r>
              <a:rPr lang="ru-RU" sz="2000" b="1" dirty="0" smtClean="0">
                <a:solidFill>
                  <a:schemeClr val="bg1"/>
                </a:solidFill>
              </a:rPr>
              <a:t>Федерации.</a:t>
            </a:r>
            <a:endParaRPr lang="ru-RU" sz="20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484882" y="1531266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484882" y="4733048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F:\RMB\УПРАВЛЕНИЕ РАЗВИТИЯ МБ\1. ЛИЧНЫЕ ПАПКИ\Ефимова\Презентации ДММБ\Шаблоны_логотип\логотип_фирменная_плашка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26493" y="188640"/>
            <a:ext cx="2451100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629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6764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Franklin Gothic Book" panose="020B05030201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100093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Россельхозбанк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Поддержка создания </a:t>
            </a:r>
            <a:r>
              <a:rPr lang="ru-RU" sz="1200" dirty="0" smtClean="0"/>
              <a:t>и развития </a:t>
            </a:r>
            <a:r>
              <a:rPr lang="ru-RU" sz="1200" dirty="0" smtClean="0"/>
              <a:t>сельскохозяйственных </a:t>
            </a:r>
            <a:r>
              <a:rPr lang="ru-RU" sz="1200" dirty="0"/>
              <a:t>производственных и потребительских кооперативов</a:t>
            </a:r>
            <a:endParaRPr lang="ru-RU" sz="12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696708" y="3595073"/>
            <a:ext cx="4108322" cy="303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Кредитование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ействующих СПоК </a:t>
            </a:r>
          </a:p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 Пополнение оборотных средств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брете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хники, оборудования, земельны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участков под их залог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ндивидуальный график погашения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использования Гранта в качестве собственного участ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вновь созданных СПоК (срок деятельности до 12 месяцев):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но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финансирование на строительство объектов и оборотные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кредитования до 8 лет с льготным периодом по погашению основного долга до 2 лет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65530" y="3087802"/>
            <a:ext cx="42864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СПК и СПоК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оротные и инвестиционные цели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596190" y="3879572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596189" y="4629576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570030" y="6156401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601996" y="5490167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343723" y="388454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defTabSz="91420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ействующий </a:t>
            </a: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МАЛЫЙ </a:t>
            </a: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И МИКРОБИЗНЕС </a:t>
            </a: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АПК</a:t>
            </a:r>
          </a:p>
          <a:p>
            <a:pPr marL="171450" indent="-171450" defTabSz="91420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Вновь созданный кооператив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  <a:p>
            <a:pPr marL="171450" indent="-171450" defTabSz="91420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43722" y="4629576"/>
            <a:ext cx="3080395" cy="599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</a:t>
            </a: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50 </a:t>
            </a: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МЛН </a:t>
            </a: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РУБ для действующего кооператива</a:t>
            </a:r>
          </a:p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25 МЛН РУБ для вновь созданного кооператива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343723" y="6123875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ОСНОВНЫЕ СРЕДСТВА, </a:t>
            </a: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Поручительство Гарантийного фонда Ростовской области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337824" y="5603076"/>
            <a:ext cx="3012253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</a:t>
            </a: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12 МЕСЯЦЕВ оборотное финансирование</a:t>
            </a:r>
          </a:p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8</a:t>
            </a: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 ЛЕТ инвестиционное финансирование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90431" y="3055595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5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80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159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" r="2931" b="17243"/>
          <a:stretch/>
        </p:blipFill>
        <p:spPr>
          <a:xfrm>
            <a:off x="-1534886" y="-24383"/>
            <a:ext cx="12475351" cy="705378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484882" y="1447312"/>
            <a:ext cx="6567161" cy="3785386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63688" y="2883703"/>
            <a:ext cx="546423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Благодарим</a:t>
            </a:r>
          </a:p>
          <a:p>
            <a:r>
              <a:rPr lang="ru-RU" sz="2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за внимание!</a:t>
            </a:r>
            <a:endParaRPr lang="ru-RU" sz="28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484882" y="2344066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484882" y="4377448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117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507"/>
          <p:cNvSpPr/>
          <p:nvPr/>
        </p:nvSpPr>
        <p:spPr>
          <a:xfrm>
            <a:off x="190500" y="5778013"/>
            <a:ext cx="8413750" cy="628650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77" b="1" dirty="0">
              <a:ln w="1905"/>
              <a:gradFill>
                <a:gsLst>
                  <a:gs pos="0">
                    <a:srgbClr val="D09C2B">
                      <a:shade val="20000"/>
                      <a:satMod val="200000"/>
                    </a:srgbClr>
                  </a:gs>
                  <a:gs pos="78000">
                    <a:srgbClr val="D09C2B">
                      <a:tint val="90000"/>
                      <a:shade val="89000"/>
                      <a:satMod val="220000"/>
                    </a:srgbClr>
                  </a:gs>
                  <a:gs pos="100000">
                    <a:srgbClr val="D09C2B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28590" y="2200076"/>
            <a:ext cx="4155380" cy="380455"/>
            <a:chOff x="139304" y="2244941"/>
            <a:chExt cx="4775861" cy="412160"/>
          </a:xfrm>
        </p:grpSpPr>
        <p:sp>
          <p:nvSpPr>
            <p:cNvPr id="61" name="Right Arrow 82"/>
            <p:cNvSpPr/>
            <p:nvPr/>
          </p:nvSpPr>
          <p:spPr bwMode="auto">
            <a:xfrm>
              <a:off x="139304" y="2246345"/>
              <a:ext cx="1583928" cy="41075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вка  </a:t>
              </a:r>
              <a:endPara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Right Arrow 96"/>
            <p:cNvSpPr/>
            <p:nvPr/>
          </p:nvSpPr>
          <p:spPr bwMode="auto">
            <a:xfrm>
              <a:off x="1946068" y="2244941"/>
              <a:ext cx="2969097" cy="41216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% 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овых ** </a:t>
              </a:r>
              <a:endParaRPr lang="ru-RU" sz="9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7" name="Прямоугольник 36"/>
          <p:cNvSpPr/>
          <p:nvPr/>
        </p:nvSpPr>
        <p:spPr>
          <a:xfrm>
            <a:off x="4388320" y="1210017"/>
            <a:ext cx="4692363" cy="353462"/>
          </a:xfrm>
          <a:prstGeom prst="rect">
            <a:avLst/>
          </a:prstGeom>
          <a:solidFill>
            <a:srgbClr val="FFC00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у (Постановление №1528)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91" name="Rectangle 122"/>
          <p:cNvSpPr>
            <a:spLocks noChangeArrowheads="1"/>
          </p:cNvSpPr>
          <p:nvPr/>
        </p:nvSpPr>
        <p:spPr bwMode="auto">
          <a:xfrm>
            <a:off x="4388321" y="1592373"/>
            <a:ext cx="4683968" cy="1752198"/>
          </a:xfrm>
          <a:prstGeom prst="rect">
            <a:avLst/>
          </a:prstGeom>
          <a:noFill/>
          <a:ln w="12700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t"/>
          <a:lstStyle>
            <a:lvl1pPr marL="342900" indent="-342900" defTabSz="87153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361950" indent="-361950" defTabSz="87153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7153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7153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7153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/х товаропроизводители, а также организации или ИП, осуществляющие производство и переработку с/х продукции:  </a:t>
            </a:r>
          </a:p>
          <a:p>
            <a:pPr marL="449263" lvl="1" indent="-114300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</a:pPr>
            <a:r>
              <a:rPr lang="ru-RU" alt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дохода которых от реализации с/х продукции на момент подачи заявки о кредите не &lt; 70%</a:t>
            </a:r>
          </a:p>
          <a:p>
            <a:pPr marL="449263" lvl="1" indent="-114300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ующие инвестиционный проект, в результате которого не более чем через три года доля дохода от реализации с/х продукции будет не </a:t>
            </a: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0%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й резидент РФ</a:t>
            </a:r>
            <a:endParaRPr lang="en-US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иным платежам в бюджет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ротства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квидации, реорганизации*</a:t>
            </a:r>
            <a:r>
              <a:rPr lang="en-US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endParaRPr lang="ru-RU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104685" y="551223"/>
            <a:ext cx="5782796" cy="585178"/>
          </a:xfrm>
        </p:spPr>
        <p:txBody>
          <a:bodyPr>
            <a:normAutofit fontScale="90000"/>
          </a:bodyPr>
          <a:lstStyle/>
          <a:p>
            <a:r>
              <a:rPr lang="ru-RU" dirty="0"/>
              <a:t>Общие условия льготного кредитования в рамках </a:t>
            </a:r>
            <a:r>
              <a:rPr lang="ru-RU" dirty="0" smtClean="0"/>
              <a:t>Постановлений </a:t>
            </a:r>
            <a:r>
              <a:rPr lang="ru-RU" dirty="0"/>
              <a:t>Правительства РФ от 29.12.2016 №</a:t>
            </a:r>
            <a:r>
              <a:rPr lang="ru-RU" dirty="0" smtClean="0"/>
              <a:t>1528 и от </a:t>
            </a:r>
            <a:r>
              <a:rPr lang="ru-RU" dirty="0"/>
              <a:t>26.04.2019 №512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28589" y="1269777"/>
            <a:ext cx="4146429" cy="323461"/>
          </a:xfrm>
          <a:prstGeom prst="rect">
            <a:avLst/>
          </a:prstGeom>
          <a:solidFill>
            <a:srgbClr val="2B603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77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финансирования</a:t>
            </a:r>
            <a:endParaRPr lang="ru-RU" sz="1477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716088" y="1714257"/>
            <a:ext cx="2567881" cy="353460"/>
            <a:chOff x="1859095" y="2409651"/>
            <a:chExt cx="2659418" cy="382915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0" name="Right Arrow 96"/>
            <p:cNvSpPr/>
            <p:nvPr/>
          </p:nvSpPr>
          <p:spPr bwMode="auto">
            <a:xfrm>
              <a:off x="1859095" y="2409651"/>
              <a:ext cx="1257701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ротные кредиты </a:t>
              </a:r>
            </a:p>
          </p:txBody>
        </p:sp>
        <p:sp>
          <p:nvSpPr>
            <p:cNvPr id="41" name="Right Arrow 96"/>
            <p:cNvSpPr/>
            <p:nvPr/>
          </p:nvSpPr>
          <p:spPr bwMode="auto">
            <a:xfrm>
              <a:off x="3187576" y="2409651"/>
              <a:ext cx="1330937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онные кредиты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128589" y="2662755"/>
            <a:ext cx="4155380" cy="302885"/>
            <a:chOff x="139304" y="2904785"/>
            <a:chExt cx="4501662" cy="328125"/>
          </a:xfrm>
        </p:grpSpPr>
        <p:sp>
          <p:nvSpPr>
            <p:cNvPr id="38" name="Right Arrow 82"/>
            <p:cNvSpPr/>
            <p:nvPr/>
          </p:nvSpPr>
          <p:spPr bwMode="auto">
            <a:xfrm>
              <a:off x="139304" y="2904785"/>
              <a:ext cx="1583928" cy="3281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</a:p>
          </p:txBody>
        </p:sp>
        <p:sp>
          <p:nvSpPr>
            <p:cNvPr id="44" name="Right Arrow 96"/>
            <p:cNvSpPr/>
            <p:nvPr/>
          </p:nvSpPr>
          <p:spPr bwMode="auto">
            <a:xfrm>
              <a:off x="1844972" y="2904785"/>
              <a:ext cx="1235819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en-US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года</a:t>
              </a:r>
            </a:p>
          </p:txBody>
        </p:sp>
        <p:sp>
          <p:nvSpPr>
            <p:cNvPr id="46" name="Right Arrow 96"/>
            <p:cNvSpPr/>
            <p:nvPr/>
          </p:nvSpPr>
          <p:spPr bwMode="auto">
            <a:xfrm>
              <a:off x="3193837" y="2904785"/>
              <a:ext cx="1447129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 лет </a:t>
              </a: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 лет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28589" y="3047617"/>
            <a:ext cx="4155380" cy="545666"/>
            <a:chOff x="139304" y="3290407"/>
            <a:chExt cx="4501662" cy="406154"/>
          </a:xfrm>
        </p:grpSpPr>
        <p:sp>
          <p:nvSpPr>
            <p:cNvPr id="48" name="Right Arrow 82"/>
            <p:cNvSpPr/>
            <p:nvPr/>
          </p:nvSpPr>
          <p:spPr bwMode="auto">
            <a:xfrm>
              <a:off x="139304" y="3290407"/>
              <a:ext cx="1583928" cy="406154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 по Постановлению  </a:t>
              </a:r>
            </a:p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№ 1528</a:t>
              </a:r>
              <a:endPara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ight Arrow 96"/>
            <p:cNvSpPr/>
            <p:nvPr/>
          </p:nvSpPr>
          <p:spPr bwMode="auto">
            <a:xfrm>
              <a:off x="1844972" y="3290407"/>
              <a:ext cx="1235819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</a:t>
              </a:r>
              <a:r>
                <a:rPr lang="en-US" sz="9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200</a:t>
              </a:r>
              <a:r>
                <a:rPr lang="ru-RU" sz="9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н. руб.</a:t>
              </a:r>
            </a:p>
          </p:txBody>
        </p:sp>
        <p:sp>
          <p:nvSpPr>
            <p:cNvPr id="50" name="Right Arrow 96"/>
            <p:cNvSpPr/>
            <p:nvPr/>
          </p:nvSpPr>
          <p:spPr bwMode="auto">
            <a:xfrm>
              <a:off x="3202532" y="3290407"/>
              <a:ext cx="1438434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сумме инвестиционного проекта</a:t>
              </a:r>
            </a:p>
          </p:txBody>
        </p:sp>
      </p:grpSp>
      <p:sp>
        <p:nvSpPr>
          <p:cNvPr id="52" name="Right Arrow 82"/>
          <p:cNvSpPr/>
          <p:nvPr/>
        </p:nvSpPr>
        <p:spPr bwMode="auto">
          <a:xfrm>
            <a:off x="136615" y="4591165"/>
            <a:ext cx="1462087" cy="1215832"/>
          </a:xfrm>
          <a:prstGeom prst="rightArrow">
            <a:avLst>
              <a:gd name="adj1" fmla="val 100000"/>
              <a:gd name="adj2" fmla="val 5915"/>
            </a:avLst>
          </a:prstGeom>
          <a:solidFill>
            <a:srgbClr val="1C793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уемые направления деятельности*</a:t>
            </a:r>
          </a:p>
        </p:txBody>
      </p:sp>
      <p:sp>
        <p:nvSpPr>
          <p:cNvPr id="55" name="Right Arrow 96"/>
          <p:cNvSpPr/>
          <p:nvPr/>
        </p:nvSpPr>
        <p:spPr bwMode="auto">
          <a:xfrm>
            <a:off x="1700619" y="4591165"/>
            <a:ext cx="2574399" cy="1215832"/>
          </a:xfrm>
          <a:prstGeom prst="rightArrow">
            <a:avLst>
              <a:gd name="adj1" fmla="val 100000"/>
              <a:gd name="adj2" fmla="val 0"/>
            </a:avLst>
          </a:prstGeom>
          <a:noFill/>
          <a:ln w="12700">
            <a:solidFill>
              <a:srgbClr val="1C79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ениеводство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тноводство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отка </a:t>
            </a: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ции растениеводства и </a:t>
            </a:r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тноводства</a:t>
            </a:r>
          </a:p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ясное </a:t>
            </a:r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товодство и Молочное скотоводство (применимо только в рамках Постановления №1528) </a:t>
            </a:r>
            <a:endParaRPr lang="ru-RU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61284" y="6289408"/>
            <a:ext cx="2133600" cy="337038"/>
          </a:xfrm>
        </p:spPr>
        <p:txBody>
          <a:bodyPr/>
          <a:lstStyle/>
          <a:p>
            <a:pPr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prstClr val="white"/>
                </a:solidFill>
              </a:rPr>
              <a:t>4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0" y="5806997"/>
            <a:ext cx="91305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В рамках постановления №1528: Заявки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на получение льготных кредитов должны 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соответствовать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перечням направлений целевого использования, в соответствии с Приказом Минсельхоза России № 24. Производимая и перерабатываемая продукция должна соответствовать перечням, утвержденным Распоряжениями Правительства РФ № 79-р и №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2524-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р. В рамках Постановления №512 предоставление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льготного кредитования осуществляется на цели в соответствии с перечнями, утвержденными приказами Минсельхоза России № 388 и № 389. Производимая и перерабатываемая продукция должна соответствовать перечням, утвержденным Распоряжениями Правительства РФ № 79-р и №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2524-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</a:p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** Ставка не менее 1% по Постановлению Правительства РФ от 26.04.2019 №512</a:t>
            </a:r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За исключением реорганизации в форме присоединения или преобразования, а также за исключением малых форм хозяйствования</a:t>
            </a:r>
          </a:p>
        </p:txBody>
      </p:sp>
      <p:sp>
        <p:nvSpPr>
          <p:cNvPr id="25" name="Номер слайда 1"/>
          <p:cNvSpPr txBox="1">
            <a:spLocks/>
          </p:cNvSpPr>
          <p:nvPr/>
        </p:nvSpPr>
        <p:spPr>
          <a:xfrm>
            <a:off x="6761284" y="65277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831" b="1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DF61C1-2457-E848-BB6B-E1DA9A549776}" type="slidenum">
              <a:rPr lang="en-US" sz="1000" b="0" smtClean="0">
                <a:latin typeface="+mn-lt"/>
              </a:rPr>
              <a:pPr/>
              <a:t>2</a:t>
            </a:fld>
            <a:endParaRPr lang="en-US" sz="1000" b="0" dirty="0">
              <a:latin typeface="+mn-lt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136615" y="3672518"/>
            <a:ext cx="4147354" cy="837861"/>
            <a:chOff x="139304" y="3290407"/>
            <a:chExt cx="4492967" cy="406154"/>
          </a:xfrm>
        </p:grpSpPr>
        <p:sp>
          <p:nvSpPr>
            <p:cNvPr id="28" name="Right Arrow 82"/>
            <p:cNvSpPr/>
            <p:nvPr/>
          </p:nvSpPr>
          <p:spPr bwMode="auto">
            <a:xfrm>
              <a:off x="139304" y="3290407"/>
              <a:ext cx="1583928" cy="406154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 по Постановлению  </a:t>
              </a:r>
            </a:p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№ 512</a:t>
              </a:r>
              <a:endPara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ight Arrow 96"/>
            <p:cNvSpPr/>
            <p:nvPr/>
          </p:nvSpPr>
          <p:spPr bwMode="auto">
            <a:xfrm>
              <a:off x="1836277" y="3290407"/>
              <a:ext cx="1235819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з ограничения по сумме</a:t>
              </a:r>
              <a:endParaRPr lang="ru-RU" sz="9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Right Arrow 96"/>
            <p:cNvSpPr/>
            <p:nvPr/>
          </p:nvSpPr>
          <p:spPr bwMode="auto">
            <a:xfrm>
              <a:off x="3185142" y="3290407"/>
              <a:ext cx="1447129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реализацию                   1 инвестиционного проекта, без ограничения по сумме</a:t>
              </a:r>
              <a:endParaRPr lang="ru-RU" sz="9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Rectangle 122"/>
          <p:cNvSpPr>
            <a:spLocks noChangeArrowheads="1"/>
          </p:cNvSpPr>
          <p:nvPr/>
        </p:nvSpPr>
        <p:spPr bwMode="auto">
          <a:xfrm>
            <a:off x="4388319" y="3751411"/>
            <a:ext cx="4672265" cy="2032770"/>
          </a:xfrm>
          <a:prstGeom prst="rect">
            <a:avLst/>
          </a:prstGeom>
          <a:noFill/>
          <a:ln w="12700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t"/>
          <a:lstStyle>
            <a:lvl1pPr marL="342900" indent="-342900" defTabSz="87153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361950" indent="-361950" defTabSz="87153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7153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7153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7153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Является сельскохозяйственным </a:t>
            </a:r>
            <a:r>
              <a:rPr lang="ru-RU" altLang="ru-RU" sz="900" dirty="0">
                <a:latin typeface="Arial" panose="020B0604020202020204" pitchFamily="34" charset="0"/>
                <a:cs typeface="Arial" panose="020B0604020202020204" pitchFamily="34" charset="0"/>
              </a:rPr>
              <a:t>товаропроизводителем или организацией, осуществляющей производство, первичную и (или) последующую (промышленную) переработку сельскохозяйственной продукции и ее реализацию, заключившим соглашение о повышении конкурентоспособности </a:t>
            </a:r>
            <a:r>
              <a:rPr lang="ru-RU" alt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(ключевое отличие от программы № 1528</a:t>
            </a:r>
            <a:r>
              <a:rPr lang="ru-RU" alt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Соблюдает значения </a:t>
            </a:r>
            <a:r>
              <a:rPr lang="ru-RU" altLang="ru-RU" sz="900" dirty="0">
                <a:latin typeface="Arial" panose="020B0604020202020204" pitchFamily="34" charset="0"/>
                <a:cs typeface="Arial" panose="020B0604020202020204" pitchFamily="34" charset="0"/>
              </a:rPr>
              <a:t>показателей заключенного между заемщиком, Минсельхозом России и Региональным органом АПК соглашения о повышения конкурентоспособности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Налоговый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резидент РФ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иным платежам в бюджет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банкротства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ликвидации,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реорганизации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***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388746" y="3371260"/>
            <a:ext cx="4692364" cy="353462"/>
          </a:xfrm>
          <a:prstGeom prst="rect">
            <a:avLst/>
          </a:prstGeom>
          <a:solidFill>
            <a:srgbClr val="FFC00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у (Постановление №512)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8557328" y="3301940"/>
            <a:ext cx="817227" cy="475253"/>
            <a:chOff x="633703" y="4595227"/>
            <a:chExt cx="817227" cy="475253"/>
          </a:xfrm>
        </p:grpSpPr>
        <p:grpSp>
          <p:nvGrpSpPr>
            <p:cNvPr id="43" name="Группа 42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51" name="Овал 5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53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54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5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5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59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45" name="Прямоугольник 44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5" name="Группа 64"/>
          <p:cNvGrpSpPr/>
          <p:nvPr/>
        </p:nvGrpSpPr>
        <p:grpSpPr>
          <a:xfrm>
            <a:off x="8557328" y="1146048"/>
            <a:ext cx="817227" cy="475253"/>
            <a:chOff x="633703" y="4595227"/>
            <a:chExt cx="817227" cy="475253"/>
          </a:xfrm>
        </p:grpSpPr>
        <p:grpSp>
          <p:nvGrpSpPr>
            <p:cNvPr id="66" name="Группа 65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8" name="Овал 67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9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70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4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5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6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7" name="Прямоугольник 66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9592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507"/>
          <p:cNvSpPr/>
          <p:nvPr/>
        </p:nvSpPr>
        <p:spPr>
          <a:xfrm>
            <a:off x="190500" y="5778013"/>
            <a:ext cx="8413750" cy="628650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77" b="1" dirty="0">
              <a:ln w="1905"/>
              <a:gradFill>
                <a:gsLst>
                  <a:gs pos="0">
                    <a:srgbClr val="D09C2B">
                      <a:shade val="20000"/>
                      <a:satMod val="200000"/>
                    </a:srgbClr>
                  </a:gs>
                  <a:gs pos="78000">
                    <a:srgbClr val="D09C2B">
                      <a:tint val="90000"/>
                      <a:shade val="89000"/>
                      <a:satMod val="220000"/>
                    </a:srgbClr>
                  </a:gs>
                  <a:gs pos="100000">
                    <a:srgbClr val="D09C2B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28589" y="2530500"/>
            <a:ext cx="4408487" cy="353460"/>
            <a:chOff x="139304" y="2244941"/>
            <a:chExt cx="4775861" cy="382915"/>
          </a:xfrm>
        </p:grpSpPr>
        <p:sp>
          <p:nvSpPr>
            <p:cNvPr id="61" name="Right Arrow 82"/>
            <p:cNvSpPr/>
            <p:nvPr/>
          </p:nvSpPr>
          <p:spPr bwMode="auto">
            <a:xfrm>
              <a:off x="139304" y="2246345"/>
              <a:ext cx="1583928" cy="381511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вка</a:t>
              </a:r>
            </a:p>
          </p:txBody>
        </p:sp>
        <p:sp>
          <p:nvSpPr>
            <p:cNvPr id="64" name="Right Arrow 96"/>
            <p:cNvSpPr/>
            <p:nvPr/>
          </p:nvSpPr>
          <p:spPr bwMode="auto">
            <a:xfrm>
              <a:off x="1859095" y="2244941"/>
              <a:ext cx="3056070" cy="38291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</a:t>
              </a:r>
              <a:r>
                <a:rPr lang="en-US" sz="1108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r>
                <a:rPr lang="ru-RU" sz="1108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  <a:r>
                <a:rPr lang="ru-RU" sz="1108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овых</a:t>
              </a:r>
            </a:p>
          </p:txBody>
        </p:sp>
      </p:grpSp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118582" y="757109"/>
            <a:ext cx="5782796" cy="585178"/>
          </a:xfrm>
        </p:spPr>
        <p:txBody>
          <a:bodyPr/>
          <a:lstStyle/>
          <a:p>
            <a:r>
              <a:rPr lang="ru-RU" dirty="0" smtClean="0"/>
              <a:t>Общие условия </a:t>
            </a:r>
            <a:r>
              <a:rPr lang="ru-RU" dirty="0"/>
              <a:t>л</a:t>
            </a:r>
            <a:r>
              <a:rPr lang="ru-RU" dirty="0" smtClean="0"/>
              <a:t>ьготного </a:t>
            </a:r>
            <a:r>
              <a:rPr lang="ru-RU" dirty="0"/>
              <a:t>кредитования в рамках Постановления Правительства РФ от 30.12.2018 № 1764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28589" y="1600200"/>
            <a:ext cx="4408486" cy="323461"/>
          </a:xfrm>
          <a:prstGeom prst="rect">
            <a:avLst/>
          </a:prstGeom>
          <a:solidFill>
            <a:srgbClr val="2B603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77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финансирования</a:t>
            </a:r>
            <a:endParaRPr lang="ru-RU" sz="1477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716088" y="2044680"/>
            <a:ext cx="2812961" cy="353460"/>
            <a:chOff x="1859095" y="2409651"/>
            <a:chExt cx="2659418" cy="382915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0" name="Right Arrow 96"/>
            <p:cNvSpPr/>
            <p:nvPr/>
          </p:nvSpPr>
          <p:spPr bwMode="auto">
            <a:xfrm>
              <a:off x="1859095" y="2409651"/>
              <a:ext cx="1257701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ротные кредиты </a:t>
              </a:r>
            </a:p>
          </p:txBody>
        </p:sp>
        <p:sp>
          <p:nvSpPr>
            <p:cNvPr id="41" name="Right Arrow 96"/>
            <p:cNvSpPr/>
            <p:nvPr/>
          </p:nvSpPr>
          <p:spPr bwMode="auto">
            <a:xfrm>
              <a:off x="3187576" y="2409651"/>
              <a:ext cx="1330937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онные кредиты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128589" y="3016319"/>
            <a:ext cx="4400460" cy="302885"/>
            <a:chOff x="139304" y="2904785"/>
            <a:chExt cx="4767165" cy="328125"/>
          </a:xfrm>
        </p:grpSpPr>
        <p:sp>
          <p:nvSpPr>
            <p:cNvPr id="38" name="Right Arrow 82"/>
            <p:cNvSpPr/>
            <p:nvPr/>
          </p:nvSpPr>
          <p:spPr bwMode="auto">
            <a:xfrm>
              <a:off x="139304" y="2904785"/>
              <a:ext cx="1583928" cy="3281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</a:p>
          </p:txBody>
        </p:sp>
        <p:sp>
          <p:nvSpPr>
            <p:cNvPr id="44" name="Right Arrow 96"/>
            <p:cNvSpPr/>
            <p:nvPr/>
          </p:nvSpPr>
          <p:spPr bwMode="auto">
            <a:xfrm>
              <a:off x="1859095" y="2904785"/>
              <a:ext cx="144117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 лет</a:t>
              </a:r>
            </a:p>
          </p:txBody>
        </p:sp>
        <p:sp>
          <p:nvSpPr>
            <p:cNvPr id="46" name="Right Arrow 96"/>
            <p:cNvSpPr/>
            <p:nvPr/>
          </p:nvSpPr>
          <p:spPr bwMode="auto">
            <a:xfrm>
              <a:off x="3381375" y="2904785"/>
              <a:ext cx="152509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лет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28589" y="3451564"/>
            <a:ext cx="4400460" cy="440835"/>
            <a:chOff x="139304" y="3345129"/>
            <a:chExt cx="4767165" cy="328125"/>
          </a:xfrm>
        </p:grpSpPr>
        <p:sp>
          <p:nvSpPr>
            <p:cNvPr id="48" name="Right Arrow 82"/>
            <p:cNvSpPr/>
            <p:nvPr/>
          </p:nvSpPr>
          <p:spPr bwMode="auto">
            <a:xfrm>
              <a:off x="139304" y="3345129"/>
              <a:ext cx="1583928" cy="3281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49" name="Right Arrow 96"/>
            <p:cNvSpPr/>
            <p:nvPr/>
          </p:nvSpPr>
          <p:spPr bwMode="auto">
            <a:xfrm>
              <a:off x="1859095" y="3345129"/>
              <a:ext cx="144117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5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0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лн. руб.</a:t>
              </a:r>
            </a:p>
          </p:txBody>
        </p:sp>
        <p:sp>
          <p:nvSpPr>
            <p:cNvPr id="50" name="Right Arrow 96"/>
            <p:cNvSpPr/>
            <p:nvPr/>
          </p:nvSpPr>
          <p:spPr bwMode="auto">
            <a:xfrm>
              <a:off x="3381375" y="3345129"/>
              <a:ext cx="152509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5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00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лн. руб.*</a:t>
              </a:r>
            </a:p>
          </p:txBody>
        </p:sp>
      </p:grpSp>
      <p:sp>
        <p:nvSpPr>
          <p:cNvPr id="52" name="Right Arrow 82"/>
          <p:cNvSpPr/>
          <p:nvPr/>
        </p:nvSpPr>
        <p:spPr bwMode="auto">
          <a:xfrm>
            <a:off x="128589" y="4029071"/>
            <a:ext cx="1462087" cy="1993860"/>
          </a:xfrm>
          <a:prstGeom prst="rightArrow">
            <a:avLst>
              <a:gd name="adj1" fmla="val 100000"/>
              <a:gd name="adj2" fmla="val 11528"/>
            </a:avLst>
          </a:prstGeom>
          <a:solidFill>
            <a:srgbClr val="1C793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уемые отрасли</a:t>
            </a:r>
          </a:p>
        </p:txBody>
      </p:sp>
      <p:sp>
        <p:nvSpPr>
          <p:cNvPr id="55" name="Right Arrow 96"/>
          <p:cNvSpPr/>
          <p:nvPr/>
        </p:nvSpPr>
        <p:spPr bwMode="auto">
          <a:xfrm>
            <a:off x="1716088" y="4024757"/>
            <a:ext cx="2820988" cy="1998174"/>
          </a:xfrm>
          <a:prstGeom prst="rightArrow">
            <a:avLst>
              <a:gd name="adj1" fmla="val 100000"/>
              <a:gd name="adj2" fmla="val 0"/>
            </a:avLst>
          </a:prstGeom>
          <a:noFill/>
          <a:ln w="12700">
            <a:solidFill>
              <a:srgbClr val="1C79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ское хозяйство</a:t>
            </a:r>
            <a:endParaRPr lang="en-US" sz="1108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атывающие </a:t>
            </a: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, 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 и распределение воды, электроэнергии, газа.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</a:t>
            </a:r>
            <a:endParaRPr lang="ru-RU" sz="1108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 и связь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изм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и переработка отходов,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бласти здравоохранения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ые отрасли Указа №899 </a:t>
            </a:r>
          </a:p>
        </p:txBody>
      </p:sp>
      <p:sp>
        <p:nvSpPr>
          <p:cNvPr id="5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61284" y="6289408"/>
            <a:ext cx="2133600" cy="337038"/>
          </a:xfrm>
        </p:spPr>
        <p:txBody>
          <a:bodyPr/>
          <a:lstStyle/>
          <a:p>
            <a:pPr defTabSz="844083" fontAlgn="base">
              <a:spcBef>
                <a:spcPct val="0"/>
              </a:spcBef>
              <a:spcAft>
                <a:spcPct val="0"/>
              </a:spcAft>
            </a:pPr>
            <a:fld id="{6DDF61C1-2457-E848-BB6B-E1DA9A549776}" type="slidenum">
              <a:rPr lang="en-US">
                <a:solidFill>
                  <a:prstClr val="white"/>
                </a:solidFill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705350" y="1599183"/>
            <a:ext cx="4375333" cy="353462"/>
          </a:xfrm>
          <a:prstGeom prst="rect">
            <a:avLst/>
          </a:prstGeom>
          <a:solidFill>
            <a:srgbClr val="FFC00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77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</a:p>
        </p:txBody>
      </p:sp>
      <p:sp>
        <p:nvSpPr>
          <p:cNvPr id="58" name="Rectangle 122"/>
          <p:cNvSpPr>
            <a:spLocks noChangeArrowheads="1"/>
          </p:cNvSpPr>
          <p:nvPr/>
        </p:nvSpPr>
        <p:spPr bwMode="auto">
          <a:xfrm>
            <a:off x="4705351" y="2044679"/>
            <a:ext cx="4357749" cy="3978252"/>
          </a:xfrm>
          <a:prstGeom prst="rect">
            <a:avLst/>
          </a:prstGeom>
          <a:noFill/>
          <a:ln w="12700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t"/>
          <a:lstStyle>
            <a:lvl1pPr marL="342900" indent="-342900" defTabSz="87153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361950" indent="-361950" defTabSz="87153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7153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7153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7153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е требованиям ст.4 Федерального закона №209-ФЗ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дной из приоритетных отраслей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отрицательной кредитной истории по кредитам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, перед персоналом по оплате труда (допускается наличие задолженности в размере не более 50 тыс. руб.)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стадии банкротства</a:t>
            </a:r>
          </a:p>
        </p:txBody>
      </p:sp>
      <p:sp>
        <p:nvSpPr>
          <p:cNvPr id="24" name="Номер слайда 1"/>
          <p:cNvSpPr txBox="1">
            <a:spLocks/>
          </p:cNvSpPr>
          <p:nvPr/>
        </p:nvSpPr>
        <p:spPr>
          <a:xfrm>
            <a:off x="6761284" y="65277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831" b="1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DF61C1-2457-E848-BB6B-E1DA9A549776}" type="slidenum">
              <a:rPr lang="en-US" sz="1000" smtClean="0"/>
              <a:pPr/>
              <a:t>3</a:t>
            </a:fld>
            <a:endParaRPr lang="en-US" sz="1000" dirty="0"/>
          </a:p>
        </p:txBody>
      </p:sp>
      <p:grpSp>
        <p:nvGrpSpPr>
          <p:cNvPr id="25" name="Группа 24"/>
          <p:cNvGrpSpPr/>
          <p:nvPr/>
        </p:nvGrpSpPr>
        <p:grpSpPr>
          <a:xfrm>
            <a:off x="8512045" y="1362573"/>
            <a:ext cx="817227" cy="475253"/>
            <a:chOff x="633703" y="4595227"/>
            <a:chExt cx="817227" cy="475253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9" name="Овал 28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0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1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2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3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5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6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7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9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28" name="Прямоугольник 27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8588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Franklin Gothic Book" panose="020B0503020102020204" pitchFamily="34" charset="0"/>
              </a:rPr>
              <a:t>Приоритетная</a:t>
            </a:r>
            <a:br>
              <a:rPr lang="ru-RU" sz="3200" dirty="0" smtClean="0">
                <a:latin typeface="Franklin Gothic Book" panose="020B0503020102020204" pitchFamily="34" charset="0"/>
              </a:rPr>
            </a:br>
            <a:r>
              <a:rPr lang="ru-RU" sz="3200" dirty="0" smtClean="0">
                <a:latin typeface="Franklin Gothic Book" panose="020B0503020102020204" pitchFamily="34" charset="0"/>
              </a:rPr>
              <a:t>поддержка </a:t>
            </a:r>
            <a:r>
              <a:rPr lang="ru-RU" sz="3200" dirty="0">
                <a:latin typeface="Franklin Gothic Book" panose="020B05030201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4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59243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рограммы Банка ориентированы на упрощение доступа МФХ к кредитам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Обеспечение своевременного финансирования сезонных работ, приоритетная поддержка малых форм хозяйство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5530" y="308780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Микро_АПК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71179" y="3826141"/>
            <a:ext cx="346126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 5%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ЕРЕЧЕНЬ ДОКУМЕНТОВ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 ПОРЯДОК И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И РАССМОТРЕНИЯ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НЕЙ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беззалогового кредитован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343723" y="4019080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343723" y="478100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О 5 МЛН. РУБЛЕЙ</a:t>
            </a:r>
            <a:endParaRPr lang="ru-RU" sz="1200" b="1" dirty="0">
              <a:solidFill>
                <a:srgbClr val="2B603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43723" y="5434731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ОЗМОЖНОСТЬ ПОЛУЧЕНИЯ </a:t>
            </a: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БЕЗЗАЛОГОВЫХ/ ЧАСТИЧНО/ ОБЕСПЕЧЕННЫХ </a:t>
            </a:r>
            <a:r>
              <a:rPr lang="ru-RU" sz="1200" b="1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РЕДИТОВ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624240" y="4088263"/>
            <a:ext cx="817227" cy="475253"/>
            <a:chOff x="633703" y="4595227"/>
            <a:chExt cx="817227" cy="475253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11" name="Овал 1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3" name="Прямоугольник 32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624240" y="4762155"/>
            <a:ext cx="817227" cy="475253"/>
            <a:chOff x="-792725" y="4047737"/>
            <a:chExt cx="817227" cy="475253"/>
          </a:xfrm>
        </p:grpSpPr>
        <p:sp>
          <p:nvSpPr>
            <p:cNvPr id="63" name="Овал 62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624240" y="5491917"/>
            <a:ext cx="817227" cy="475253"/>
            <a:chOff x="-795017" y="2692105"/>
            <a:chExt cx="817227" cy="475253"/>
          </a:xfrm>
        </p:grpSpPr>
        <p:grpSp>
          <p:nvGrpSpPr>
            <p:cNvPr id="82" name="Группа 81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52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3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4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5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6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7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4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23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752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2756554" y="2588206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Franklin Gothic Book" panose="020B0503020102020204" pitchFamily="34" charset="0"/>
              </a:rPr>
              <a:t>Приоритетная</a:t>
            </a:r>
            <a:br>
              <a:rPr lang="ru-RU" sz="3200" dirty="0" smtClean="0">
                <a:latin typeface="Franklin Gothic Book" panose="020B0503020102020204" pitchFamily="34" charset="0"/>
              </a:rPr>
            </a:br>
            <a:r>
              <a:rPr lang="ru-RU" sz="3200" dirty="0" smtClean="0">
                <a:latin typeface="Franklin Gothic Book" panose="020B0503020102020204" pitchFamily="34" charset="0"/>
              </a:rPr>
              <a:t>поддержка </a:t>
            </a:r>
            <a:r>
              <a:rPr lang="ru-RU" sz="3200" dirty="0">
                <a:latin typeface="Franklin Gothic Book" panose="020B05030201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5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0" y="1949599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762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6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786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265530" y="29417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АПК_Инвест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2498779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/>
              <a:t>Инвестиционное финансирование на приобретение техники, оборудования, молодняка с/х животных и земельных участков с/х назначения</a:t>
            </a:r>
            <a:endParaRPr lang="ru-RU" sz="12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322649" y="2171997"/>
            <a:ext cx="2999532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рограммы Банка ориентированы на упрощение доступа МФХ к кредитам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601996" y="4086827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601996" y="4658538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601996" y="5792405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601996" y="5241133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8" name="Прямоугольник 57"/>
          <p:cNvSpPr/>
          <p:nvPr/>
        </p:nvSpPr>
        <p:spPr>
          <a:xfrm>
            <a:off x="4807803" y="3661361"/>
            <a:ext cx="4270119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приобрете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к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ранспорт,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борудования,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животных и з/у с/х назначения)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ДО 10 МЛН.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УБ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РАССМОТРЕНИЯ 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АКЕТ ДОКУМЕНТОВ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ПРИНЯТИЯ РЕШЕНИЯ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4 ДНЕЙ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о 24 месяцев льготный период</a:t>
            </a:r>
            <a:b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 погашению основного долг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</a:t>
            </a:r>
            <a:b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5% годовых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362773" y="529042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7 ЛЕТ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362773" y="470782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20 МЛН. РУБ.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362773" y="5980331"/>
            <a:ext cx="306521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РИОБРЕТАЕМОЕ </a:t>
            </a: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МУЩЕСТВО +</a:t>
            </a:r>
            <a:endParaRPr lang="ru-RU" sz="1200" b="1" dirty="0">
              <a:solidFill>
                <a:srgbClr val="2B603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ОПОЛНИТЕЛЬНОЕ ОБЕСПЕЧЕНИЕ</a:t>
            </a:r>
            <a:b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900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(недвижимость, транспорт и с/х техника, оборудование, земельные участки с/х назначения, а также гарантии Корпорации МСП, поручительство гарантийного фонда, поручительство бенефициаров (для юр</a:t>
            </a:r>
            <a:r>
              <a:rPr lang="ru-RU" sz="900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. лиц</a:t>
            </a:r>
            <a:r>
              <a:rPr lang="ru-RU" sz="900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))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1343723" y="3992388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cs typeface="Arial" panose="020B0604020202020204" pitchFamily="34" charset="0"/>
              </a:rPr>
              <a:t>МАЛЫЕ ФОРМЫ ХОЗЯЙСТВОВАНИЯ</a:t>
            </a:r>
          </a:p>
        </p:txBody>
      </p:sp>
    </p:spTree>
    <p:extLst>
      <p:ext uri="{BB962C8B-B14F-4D97-AF65-F5344CB8AC3E}">
        <p14:creationId xmlns:p14="http://schemas.microsoft.com/office/powerpoint/2010/main" val="359953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58123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Franklin Gothic Book" panose="020B0503020102020204" pitchFamily="34" charset="0"/>
              </a:rPr>
              <a:t>Содействие</a:t>
            </a:r>
            <a:br>
              <a:rPr lang="ru-RU" sz="3200" dirty="0" smtClean="0">
                <a:latin typeface="Franklin Gothic Book" panose="020B0503020102020204" pitchFamily="34" charset="0"/>
              </a:rPr>
            </a:br>
            <a:r>
              <a:rPr lang="ru-RU" sz="3200" dirty="0" smtClean="0">
                <a:latin typeface="Franklin Gothic Book" panose="020B0503020102020204" pitchFamily="34" charset="0"/>
              </a:rPr>
              <a:t>развитию </a:t>
            </a:r>
            <a:r>
              <a:rPr lang="ru-RU" sz="3200" dirty="0">
                <a:latin typeface="Franklin Gothic Book" panose="020B05030201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6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20238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Популяризация фермерства, содействие созданию новых фермерских хозяйств и сбыту фермер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5071178" y="3597541"/>
            <a:ext cx="374929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 5%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Грант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«Агростартап» = собственные средства заемщика в проекте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иповых бизнес-моделей создания основных отраслевых сельхозпредприятий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265530" y="3087802"/>
            <a:ext cx="39526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Стан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фермером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!»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новь созданных хозяйств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9" name="Группа 68"/>
          <p:cNvGrpSpPr/>
          <p:nvPr/>
        </p:nvGrpSpPr>
        <p:grpSpPr>
          <a:xfrm>
            <a:off x="601996" y="4263122"/>
            <a:ext cx="817227" cy="475253"/>
            <a:chOff x="633703" y="4595227"/>
            <a:chExt cx="817227" cy="475253"/>
          </a:xfrm>
        </p:grpSpPr>
        <p:grpSp>
          <p:nvGrpSpPr>
            <p:cNvPr id="81" name="Группа 8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8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9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82" name="Прямоугольник 8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601996" y="4902459"/>
            <a:ext cx="817227" cy="475253"/>
            <a:chOff x="-792725" y="4047737"/>
            <a:chExt cx="817227" cy="475253"/>
          </a:xfrm>
        </p:grpSpPr>
        <p:sp>
          <p:nvSpPr>
            <p:cNvPr id="104" name="Овал 10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07" name="Группа 106"/>
          <p:cNvGrpSpPr/>
          <p:nvPr/>
        </p:nvGrpSpPr>
        <p:grpSpPr>
          <a:xfrm>
            <a:off x="601996" y="6181134"/>
            <a:ext cx="817227" cy="475253"/>
            <a:chOff x="-795017" y="2692105"/>
            <a:chExt cx="817227" cy="475253"/>
          </a:xfrm>
        </p:grpSpPr>
        <p:grpSp>
          <p:nvGrpSpPr>
            <p:cNvPr id="118" name="Группа 11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126" name="Овал 12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Прямоугольник 12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12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128" name="Группа 127"/>
          <p:cNvGrpSpPr/>
          <p:nvPr/>
        </p:nvGrpSpPr>
        <p:grpSpPr>
          <a:xfrm>
            <a:off x="601996" y="5541796"/>
            <a:ext cx="817227" cy="475253"/>
            <a:chOff x="2273440" y="5295480"/>
            <a:chExt cx="817227" cy="475253"/>
          </a:xfrm>
        </p:grpSpPr>
        <p:grpSp>
          <p:nvGrpSpPr>
            <p:cNvPr id="129" name="Группа 128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34" name="Овал 133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 134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31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6" name="Прямоугольник 135"/>
          <p:cNvSpPr/>
          <p:nvPr/>
        </p:nvSpPr>
        <p:spPr>
          <a:xfrm>
            <a:off x="1343723" y="424291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1343723" y="494792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ГРАНТ –  ДО 5 МЛН. РУБ.</a:t>
            </a: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КРЕДИТ – ДО 9 МЛН. РУБ.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1343723" y="6091956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ВОЗМОЖНОСТЬ ПОЛУЧЕНИЯ БЕЗЗАЛОГОВЫХ/ ЧАСТИЧНО ОБЕСПЕЧЕННЫХ КРЕДИТОВ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39" name="Прямоугольник 138"/>
          <p:cNvSpPr/>
          <p:nvPr/>
        </p:nvSpPr>
        <p:spPr>
          <a:xfrm>
            <a:off x="1343723" y="556590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10 ЛЕТ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4890431" y="3055595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5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2057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761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2396450" y="1725548"/>
            <a:ext cx="6652494" cy="4668996"/>
          </a:xfrm>
          <a:prstGeom prst="rect">
            <a:avLst/>
          </a:prstGeom>
          <a:noFill/>
          <a:ln w="19050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t"/>
          <a:lstStyle/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8652" y="563234"/>
            <a:ext cx="5621572" cy="518840"/>
          </a:xfrm>
          <a:prstGeom prst="rect">
            <a:avLst/>
          </a:prstGeom>
        </p:spPr>
        <p:txBody>
          <a:bodyPr vert="horz" lIns="65306" tIns="32653" rIns="65306" bIns="32653" rtlCol="0" anchor="ctr">
            <a:noAutofit/>
          </a:bodyPr>
          <a:lstStyle>
            <a:defPPr>
              <a:defRPr lang="en-US"/>
            </a:defPPr>
            <a:lvl1pPr defTabSz="457200">
              <a:spcBef>
                <a:spcPct val="0"/>
              </a:spcBef>
              <a:buNone/>
              <a:defRPr sz="1600" b="1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defTabSz="457200">
              <a:defRPr sz="1800"/>
            </a:lvl2pPr>
            <a:lvl3pPr marL="914400" defTabSz="457200">
              <a:defRPr sz="1800"/>
            </a:lvl3pPr>
            <a:lvl4pPr marL="1371600" defTabSz="457200">
              <a:defRPr sz="1800"/>
            </a:lvl4pPr>
            <a:lvl5pPr marL="1828800" defTabSz="457200">
              <a:defRPr sz="1800"/>
            </a:lvl5pPr>
            <a:lvl6pPr marL="2286000" defTabSz="457200">
              <a:defRPr sz="1800"/>
            </a:lvl6pPr>
            <a:lvl7pPr marL="2743200" defTabSz="457200">
              <a:defRPr sz="1800"/>
            </a:lvl7pPr>
            <a:lvl8pPr marL="3200400" defTabSz="457200">
              <a:defRPr sz="1800"/>
            </a:lvl8pPr>
            <a:lvl9pPr marL="3657600" defTabSz="457200">
              <a:defRPr sz="1800"/>
            </a:lvl9pPr>
          </a:lstStyle>
          <a:p>
            <a:r>
              <a:rPr lang="ru-RU" sz="1800" dirty="0">
                <a:latin typeface="+mn-lt"/>
                <a:ea typeface="+mn-ea"/>
                <a:cs typeface="+mn-cs"/>
              </a:rPr>
              <a:t>Финансовая поддержка начинающих фермеров</a:t>
            </a:r>
          </a:p>
        </p:txBody>
      </p:sp>
      <p:sp>
        <p:nvSpPr>
          <p:cNvPr id="57" name="Полилиния 56"/>
          <p:cNvSpPr/>
          <p:nvPr/>
        </p:nvSpPr>
        <p:spPr>
          <a:xfrm>
            <a:off x="237210" y="2601150"/>
            <a:ext cx="1944519" cy="1733412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е использование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403017" y="2575847"/>
            <a:ext cx="6747551" cy="1758715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объектов недвижимости (нежилые здания/сооружения, предназначенные для производства, хранения, переработки с/х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продукции);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Осуществление расходов, связанных с улучшением приобретенных в рамках Проекта объектов недвижимости (ремонт, подведение коммуникаций, модернизация приобретаемой недвижимости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молодняка сельскохозяйственных животных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автотранспорта, техники, оборудования для обеспечения хозяйственной деятельности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земель сельскохозяйственного назначения для обеспечения хозяйственной деятельности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- Текущие цели (пополнение оборотных средств для обеспечения хозяйственной деятельности, включая проведение сезонных работ).</a:t>
            </a:r>
          </a:p>
        </p:txBody>
      </p:sp>
      <p:sp>
        <p:nvSpPr>
          <p:cNvPr id="62" name="Полилиния 61"/>
          <p:cNvSpPr/>
          <p:nvPr/>
        </p:nvSpPr>
        <p:spPr>
          <a:xfrm>
            <a:off x="263210" y="5714052"/>
            <a:ext cx="1944519" cy="412845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</a:t>
            </a:r>
          </a:p>
        </p:txBody>
      </p:sp>
      <p:sp>
        <p:nvSpPr>
          <p:cNvPr id="67" name="Полилиния 66"/>
          <p:cNvSpPr/>
          <p:nvPr/>
        </p:nvSpPr>
        <p:spPr>
          <a:xfrm>
            <a:off x="263210" y="4389319"/>
            <a:ext cx="1944519" cy="1118311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383375" y="5577198"/>
            <a:ext cx="6652493" cy="535303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до 9 млн. рублей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, в т.ч. на текущие цели – до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5 млн. рублей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.</a:t>
            </a:r>
          </a:p>
          <a:p>
            <a:pPr>
              <a:spcBef>
                <a:spcPts val="300"/>
              </a:spcBef>
              <a:spcAft>
                <a:spcPts val="3600"/>
              </a:spcAft>
            </a:pP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4" name="Полилиния 33"/>
          <p:cNvSpPr/>
          <p:nvPr/>
        </p:nvSpPr>
        <p:spPr>
          <a:xfrm>
            <a:off x="229188" y="1758696"/>
            <a:ext cx="1944519" cy="725795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  <a:defRPr/>
            </a:pPr>
            <a:r>
              <a:rPr lang="ru-RU" sz="10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</a:t>
            </a:r>
            <a:endParaRPr lang="ru-RU" sz="900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418138" y="1725548"/>
            <a:ext cx="6617730" cy="835385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Индивидуальный предприниматель - глава КФХ,  Индивидуальный предприниматель – глава КФХ, член действующего сельскохозяйственного потребительского кооператива *(СПоК</a:t>
            </a:r>
            <a:r>
              <a:rPr lang="ru-RU" sz="10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), признанный победителем регионального конкурса по отбору </a:t>
            </a:r>
            <a:r>
              <a:rPr lang="ru-RU" sz="10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раждан </a:t>
            </a:r>
            <a:r>
              <a:rPr lang="ru-RU" sz="10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и </a:t>
            </a:r>
            <a:r>
              <a:rPr lang="ru-RU" sz="10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КФХ для предоставления грантов «Агростартап</a:t>
            </a:r>
            <a:r>
              <a:rPr lang="ru-RU" sz="10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».</a:t>
            </a:r>
            <a:endParaRPr lang="ru-RU" sz="1000" b="1" u="sng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908311"/>
              </p:ext>
            </p:extLst>
          </p:nvPr>
        </p:nvGraphicFramePr>
        <p:xfrm>
          <a:off x="2403017" y="4370160"/>
          <a:ext cx="6526503" cy="109887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5561988">
                  <a:extLst>
                    <a:ext uri="{9D8B030D-6E8A-4147-A177-3AD203B41FA5}">
                      <a16:colId xmlns="" xmlns:a16="http://schemas.microsoft.com/office/drawing/2014/main" val="1270809148"/>
                    </a:ext>
                  </a:extLst>
                </a:gridCol>
                <a:gridCol w="964515">
                  <a:extLst>
                    <a:ext uri="{9D8B030D-6E8A-4147-A177-3AD203B41FA5}">
                      <a16:colId xmlns="" xmlns:a16="http://schemas.microsoft.com/office/drawing/2014/main" val="604166262"/>
                    </a:ext>
                  </a:extLst>
                </a:gridCol>
              </a:tblGrid>
              <a:tr h="2618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Сроки кредитования устанавливаются с учетом целевого использования кредита:</a:t>
                      </a:r>
                      <a:endParaRPr lang="ru-RU" sz="10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48040" marR="4804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Срок кредита</a:t>
                      </a: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="" xmlns:a16="http://schemas.microsoft.com/office/drawing/2014/main" val="807311362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На пополнение оборотных средств, в том числе на проведение сезонных работ в рамках Проекта, в том числе в рамках комплексного кредитования</a:t>
                      </a:r>
                    </a:p>
                  </a:txBody>
                  <a:tcPr marL="48040" marR="480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2 лет</a:t>
                      </a: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="" xmlns:a16="http://schemas.microsoft.com/office/drawing/2014/main" val="3347279190"/>
                  </a:ext>
                </a:extLst>
              </a:tr>
              <a:tr h="1465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На инвестиционные цели</a:t>
                      </a:r>
                      <a:endParaRPr lang="ru-RU" sz="10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48040" marR="480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до 10 </a:t>
                      </a: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лет</a:t>
                      </a: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="" xmlns:a16="http://schemas.microsoft.com/office/drawing/2014/main" val="1405284228"/>
                  </a:ext>
                </a:extLst>
              </a:tr>
              <a:tr h="1465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8040" marR="480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endParaRPr lang="ru-RU" sz="9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="" xmlns:a16="http://schemas.microsoft.com/office/drawing/2014/main" val="2967841169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622300" y="25781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9188" y="1347237"/>
            <a:ext cx="88080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5C2A"/>
                </a:solidFill>
                <a:latin typeface="Arial" panose="020B0604020202020204" pitchFamily="34" charset="0"/>
                <a:cs typeface="Arial" pitchFamily="34" charset="0"/>
              </a:rPr>
              <a:t>Кредитная программа «Стань </a:t>
            </a:r>
            <a:r>
              <a:rPr lang="ru-RU" sz="1400" b="1" dirty="0">
                <a:solidFill>
                  <a:srgbClr val="005C2A"/>
                </a:solidFill>
                <a:latin typeface="Arial" panose="020B0604020202020204" pitchFamily="34" charset="0"/>
                <a:cs typeface="Arial" pitchFamily="34" charset="0"/>
              </a:rPr>
              <a:t>фермером</a:t>
            </a:r>
            <a:r>
              <a:rPr lang="ru-RU" sz="1400" b="1" dirty="0" smtClean="0">
                <a:solidFill>
                  <a:srgbClr val="005C2A"/>
                </a:solidFill>
                <a:latin typeface="Arial" panose="020B0604020202020204" pitchFamily="34" charset="0"/>
                <a:cs typeface="Arial" pitchFamily="34" charset="0"/>
              </a:rPr>
              <a:t>» </a:t>
            </a:r>
            <a:endParaRPr lang="ru-RU" sz="1400" b="1" dirty="0">
              <a:solidFill>
                <a:srgbClr val="005C2A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9365" y="1253378"/>
            <a:ext cx="9014635" cy="87390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786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2317120" y="1436465"/>
            <a:ext cx="6777187" cy="5035123"/>
          </a:xfrm>
          <a:prstGeom prst="rect">
            <a:avLst/>
          </a:prstGeom>
          <a:noFill/>
          <a:ln w="19050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t"/>
          <a:lstStyle/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8652" y="593714"/>
            <a:ext cx="5287444" cy="518840"/>
          </a:xfrm>
          <a:prstGeom prst="rect">
            <a:avLst/>
          </a:prstGeom>
        </p:spPr>
        <p:txBody>
          <a:bodyPr vert="horz" lIns="65306" tIns="32653" rIns="65306" bIns="32653" rtlCol="0" anchor="ctr">
            <a:noAutofit/>
          </a:bodyPr>
          <a:lstStyle>
            <a:defPPr>
              <a:defRPr lang="en-US"/>
            </a:defPPr>
            <a:lvl1pPr defTabSz="457200">
              <a:spcBef>
                <a:spcPct val="0"/>
              </a:spcBef>
              <a:buNone/>
              <a:defRPr sz="1600" b="1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defTabSz="457200">
              <a:defRPr sz="1800"/>
            </a:lvl2pPr>
            <a:lvl3pPr marL="914400" defTabSz="457200">
              <a:defRPr sz="1800"/>
            </a:lvl3pPr>
            <a:lvl4pPr marL="1371600" defTabSz="457200">
              <a:defRPr sz="1800"/>
            </a:lvl4pPr>
            <a:lvl5pPr marL="1828800" defTabSz="457200">
              <a:defRPr sz="1800"/>
            </a:lvl5pPr>
            <a:lvl6pPr marL="2286000" defTabSz="457200">
              <a:defRPr sz="1800"/>
            </a:lvl6pPr>
            <a:lvl7pPr marL="2743200" defTabSz="457200">
              <a:defRPr sz="1800"/>
            </a:lvl7pPr>
            <a:lvl8pPr marL="3200400" defTabSz="457200">
              <a:defRPr sz="1800"/>
            </a:lvl8pPr>
            <a:lvl9pPr marL="3657600" defTabSz="457200">
              <a:defRPr sz="1800"/>
            </a:lvl9pPr>
          </a:lstStyle>
          <a:p>
            <a:r>
              <a:rPr lang="ru-RU" sz="1400" dirty="0"/>
              <a:t>Финансовая поддержка начинающих фермеров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2362484" y="1436466"/>
            <a:ext cx="6686457" cy="2181908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сновное обеспечение: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Независимо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т целей финансирования - залог земельного участка/прав аренды земельного участка, на котором будет осуществляться реализация Проекта с использованием кредитных средств Банка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Залог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имущества, приобретаемого за счет средств Банка (автотранспорт, техника, оборудование, молодняк с/х животных, земли с/х назначения)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оручительство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арантийных региональных фондов.</a:t>
            </a:r>
          </a:p>
          <a:p>
            <a:pPr marL="85715" lvl="1" algn="just" defTabSz="871783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залог не принимается имущество Клиента/третьего лица,  приобретенное (полностью или частично) за счет средств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ранта, если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 нормативных правовых актах субъекта РФ существует запрет на отчуждение имущества, приобретенного за счет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ранта.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algn="just" defTabSz="871783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Дополнительно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беспечение - обязательно:</a:t>
            </a:r>
          </a:p>
          <a:p>
            <a:pPr marL="85715" lvl="1" algn="just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оручительства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физических лиц (всех участники КФХ, залогодатели-третьи лица).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algn="just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оручительства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юридических лиц/ИП (залогодатели-третьи лица/СПоК – если Заемщик является членом СПоК)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6" name="Полилиния 35"/>
          <p:cNvSpPr/>
          <p:nvPr/>
        </p:nvSpPr>
        <p:spPr>
          <a:xfrm>
            <a:off x="251138" y="1484784"/>
            <a:ext cx="1944519" cy="1154485"/>
          </a:xfrm>
          <a:custGeom>
            <a:avLst/>
            <a:gdLst>
              <a:gd name="connsiteX0" fmla="*/ 0 w 1539264"/>
              <a:gd name="connsiteY0" fmla="*/ 0 h 696184"/>
              <a:gd name="connsiteX1" fmla="*/ 1539264 w 1539264"/>
              <a:gd name="connsiteY1" fmla="*/ 0 h 696184"/>
              <a:gd name="connsiteX2" fmla="*/ 1539264 w 1539264"/>
              <a:gd name="connsiteY2" fmla="*/ 696184 h 696184"/>
              <a:gd name="connsiteX3" fmla="*/ 0 w 1539264"/>
              <a:gd name="connsiteY3" fmla="*/ 696184 h 696184"/>
              <a:gd name="connsiteX4" fmla="*/ 0 w 1539264"/>
              <a:gd name="connsiteY4" fmla="*/ 0 h 696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9264" h="696184">
                <a:moveTo>
                  <a:pt x="0" y="0"/>
                </a:moveTo>
                <a:lnTo>
                  <a:pt x="1539264" y="0"/>
                </a:lnTo>
                <a:lnTo>
                  <a:pt x="1539264" y="696184"/>
                </a:lnTo>
                <a:lnTo>
                  <a:pt x="0" y="696184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algn="ctr" defTabSz="48889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</a:p>
        </p:txBody>
      </p:sp>
      <p:sp>
        <p:nvSpPr>
          <p:cNvPr id="19" name="Полилиния 18"/>
          <p:cNvSpPr/>
          <p:nvPr/>
        </p:nvSpPr>
        <p:spPr>
          <a:xfrm>
            <a:off x="288276" y="3807284"/>
            <a:ext cx="1944519" cy="1154485"/>
          </a:xfrm>
          <a:custGeom>
            <a:avLst/>
            <a:gdLst>
              <a:gd name="connsiteX0" fmla="*/ 0 w 1539264"/>
              <a:gd name="connsiteY0" fmla="*/ 0 h 696184"/>
              <a:gd name="connsiteX1" fmla="*/ 1539264 w 1539264"/>
              <a:gd name="connsiteY1" fmla="*/ 0 h 696184"/>
              <a:gd name="connsiteX2" fmla="*/ 1539264 w 1539264"/>
              <a:gd name="connsiteY2" fmla="*/ 696184 h 696184"/>
              <a:gd name="connsiteX3" fmla="*/ 0 w 1539264"/>
              <a:gd name="connsiteY3" fmla="*/ 696184 h 696184"/>
              <a:gd name="connsiteX4" fmla="*/ 0 w 1539264"/>
              <a:gd name="connsiteY4" fmla="*/ 0 h 696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9264" h="696184">
                <a:moveTo>
                  <a:pt x="0" y="0"/>
                </a:moveTo>
                <a:lnTo>
                  <a:pt x="1539264" y="0"/>
                </a:lnTo>
                <a:lnTo>
                  <a:pt x="1539264" y="696184"/>
                </a:lnTo>
                <a:lnTo>
                  <a:pt x="0" y="696184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algn="ctr" defTabSz="48889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/Участнику кредитной сделки</a:t>
            </a:r>
            <a:endParaRPr lang="ru-RU" sz="10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366814" y="3789544"/>
            <a:ext cx="6777186" cy="2682045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1. Не входит в ГСК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2. Отсутствует задолженность перед бюджетом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/ </a:t>
            </a:r>
            <a:r>
              <a:rPr lang="ru-RU" sz="1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небюджтными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фондами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3. Отсутствует задолженность по заработной плате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4. Отсутствует очередь неисполненных в срок распоряжений или арест по счету Клиента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5. Наличие действующих лицензий/сертификатов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6. Отсутствие вступивших в законную силу, но не исполненных судебных актов, и отсутствие исков, находящихся в стадии судебного рассмотрения (проверяется в отношении Участников кредитной сделки)</a:t>
            </a:r>
          </a:p>
          <a:p>
            <a:pPr marL="85715" lvl="1" algn="just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7. Участники кредитной сделки не находятся в процессе реорганизации, ликвидации, банкротства, отсутствуют принятые арбитражным судом заявления о признании Участников кредитной сделки банкротом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8. В отношении Участников кредитной сделки принятые судом заявления о банкротстве/введении одной из процедур банкротства или судебного акта о введении одной из процедур банкротства, в т.ч. к физическому лицу (гражданину)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9. Возраст Клиента – не менее 23 лет и не более 65 лет на дату заключения договора кредитования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10. Члены КФХ – граждане Российской Федерации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11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. Срок деятельности СПоК – не менее 24 месяцев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9365" y="1253378"/>
            <a:ext cx="9014635" cy="87390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091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6764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Franklin Gothic Book" panose="020B05030201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9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100093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Россельхозбанк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Поддержка создания комплексов по производству и переработке животноводче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424118" y="3509521"/>
            <a:ext cx="4108322" cy="31906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ИПОВЫЕ БИЗНЕС-ПЛАНЫ: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е комплексов/ объектов по производству молока на 100 голов дойного стада КРС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бретение КРС для развития семейной животноводческой фермы по производству мяса-говядины на базе КФ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РАНТ УЧИТЫВАЕТСЯ В КАЧЕСТВЕ СРЕДСТВ СОБСТВЕННОГО УЧАСТИЯ КЛИЕНТ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НА УСЛОВИЯХ ПРОЕКТНОГО ФИНАНСИРОВАНИЯ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иповых бизнес-моделей создания основных отраслевы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ельхозпредприятий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65530" y="3087802"/>
            <a:ext cx="428644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цели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я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комплексов/ объектов по производству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лока, мясо-говядины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601996" y="4167872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601996" y="4807209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01996" y="6085884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601996" y="5446546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343723" y="414766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МАЛЫЙ И МИКРОБИЗНЕС АПК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43723" y="485267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75 МЛН РУБ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343723" y="5996706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ОСНОВНЫЕ СРЕДСТВА, СОЗДАННЫЕ</a:t>
            </a:r>
            <a:b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В ПРОЦЕССЕ РЕАЛИЗАЦИИ ПРОЕКТА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343723" y="547065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15 ЛЕТ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90431" y="3055595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5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80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101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РоссельхозБанк (RSHB) 4x3.potx" id="{71569C02-40C5-4F2D-ADBB-DC173588E1BF}" vid="{C5B0BF87-2EF8-46AB-9EA0-C4F2E2C11BC1}"/>
    </a:ext>
  </a:extLst>
</a:theme>
</file>

<file path=ppt/theme/theme4.xml><?xml version="1.0" encoding="utf-8"?>
<a:theme xmlns:a="http://schemas.openxmlformats.org/drawingml/2006/main" name="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67</TotalTime>
  <Words>1510</Words>
  <Application>Microsoft Office PowerPoint</Application>
  <PresentationFormat>Экран (4:3)</PresentationFormat>
  <Paragraphs>246</Paragraphs>
  <Slides>11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Тема Office</vt:lpstr>
      <vt:lpstr>1_Тема Office</vt:lpstr>
      <vt:lpstr>45_Firm Format - template_Blue</vt:lpstr>
      <vt:lpstr>RUS Presi Template</vt:lpstr>
      <vt:lpstr>think-cell Slide</vt:lpstr>
      <vt:lpstr>Презентация PowerPoint</vt:lpstr>
      <vt:lpstr>Общие условия льготного кредитования в рамках Постановлений Правительства РФ от 29.12.2016 №1528 и от 26.04.2019 №512</vt:lpstr>
      <vt:lpstr>Общие условия льготного кредитования в рамках Постановления Правительства РФ от 30.12.2018 № 1764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Россельхозбанк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Кротова Виолетта Андреевна</cp:lastModifiedBy>
  <cp:revision>693</cp:revision>
  <cp:lastPrinted>2020-03-04T17:21:18Z</cp:lastPrinted>
  <dcterms:created xsi:type="dcterms:W3CDTF">2016-10-06T10:10:33Z</dcterms:created>
  <dcterms:modified xsi:type="dcterms:W3CDTF">2020-09-23T14:28:27Z</dcterms:modified>
</cp:coreProperties>
</file>